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56" r:id="rId2"/>
    <p:sldId id="257" r:id="rId3"/>
  </p:sldIdLst>
  <p:sldSz cx="10691813" cy="15119350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42"/>
    <p:restoredTop sz="96058"/>
  </p:normalViewPr>
  <p:slideViewPr>
    <p:cSldViewPr snapToGrid="0">
      <p:cViewPr>
        <p:scale>
          <a:sx n="70" d="100"/>
          <a:sy n="70" d="100"/>
        </p:scale>
        <p:origin x="1304" y="-14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6" y="2474395"/>
            <a:ext cx="9088041" cy="5263774"/>
          </a:xfrm>
        </p:spPr>
        <p:txBody>
          <a:bodyPr anchor="b"/>
          <a:lstStyle>
            <a:lvl1pPr algn="ctr">
              <a:defRPr sz="7016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7941160"/>
            <a:ext cx="8018860" cy="3650342"/>
          </a:xfrm>
        </p:spPr>
        <p:txBody>
          <a:bodyPr/>
          <a:lstStyle>
            <a:lvl1pPr marL="0" indent="0" algn="ctr">
              <a:buNone/>
              <a:defRPr sz="2806"/>
            </a:lvl1pPr>
            <a:lvl2pPr marL="534604" indent="0" algn="ctr">
              <a:buNone/>
              <a:defRPr sz="2339"/>
            </a:lvl2pPr>
            <a:lvl3pPr marL="1069208" indent="0" algn="ctr">
              <a:buNone/>
              <a:defRPr sz="2105"/>
            </a:lvl3pPr>
            <a:lvl4pPr marL="1603812" indent="0" algn="ctr">
              <a:buNone/>
              <a:defRPr sz="1871"/>
            </a:lvl4pPr>
            <a:lvl5pPr marL="2138416" indent="0" algn="ctr">
              <a:buNone/>
              <a:defRPr sz="1871"/>
            </a:lvl5pPr>
            <a:lvl6pPr marL="2673020" indent="0" algn="ctr">
              <a:buNone/>
              <a:defRPr sz="1871"/>
            </a:lvl6pPr>
            <a:lvl7pPr marL="3207624" indent="0" algn="ctr">
              <a:buNone/>
              <a:defRPr sz="1871"/>
            </a:lvl7pPr>
            <a:lvl8pPr marL="3742228" indent="0" algn="ctr">
              <a:buNone/>
              <a:defRPr sz="1871"/>
            </a:lvl8pPr>
            <a:lvl9pPr marL="4276832" indent="0" algn="ctr">
              <a:buNone/>
              <a:defRPr sz="1871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7C214-94A9-824B-B1E2-EB359F8B1068}" type="datetimeFigureOut">
              <a:rPr lang="en-DE" smtClean="0"/>
              <a:t>02.02.23</a:t>
            </a:fld>
            <a:endParaRPr lang="en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9996E-44AE-DC4C-867D-F07C3180609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8439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7C214-94A9-824B-B1E2-EB359F8B1068}" type="datetimeFigureOut">
              <a:rPr lang="en-DE" smtClean="0"/>
              <a:t>02.02.23</a:t>
            </a:fld>
            <a:endParaRPr lang="en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9996E-44AE-DC4C-867D-F07C3180609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5871296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804966"/>
            <a:ext cx="2305422" cy="12812950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3" y="804966"/>
            <a:ext cx="6782619" cy="1281295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7C214-94A9-824B-B1E2-EB359F8B1068}" type="datetimeFigureOut">
              <a:rPr lang="en-DE" smtClean="0"/>
              <a:t>02.02.23</a:t>
            </a:fld>
            <a:endParaRPr lang="en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9996E-44AE-DC4C-867D-F07C3180609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51160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7C214-94A9-824B-B1E2-EB359F8B1068}" type="datetimeFigureOut">
              <a:rPr lang="en-DE" smtClean="0"/>
              <a:t>02.02.23</a:t>
            </a:fld>
            <a:endParaRPr lang="en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9996E-44AE-DC4C-867D-F07C3180609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686092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3769342"/>
            <a:ext cx="9221689" cy="6289229"/>
          </a:xfrm>
        </p:spPr>
        <p:txBody>
          <a:bodyPr anchor="b"/>
          <a:lstStyle>
            <a:lvl1pPr>
              <a:defRPr sz="7016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10118069"/>
            <a:ext cx="9221689" cy="3307357"/>
          </a:xfrm>
        </p:spPr>
        <p:txBody>
          <a:bodyPr/>
          <a:lstStyle>
            <a:lvl1pPr marL="0" indent="0">
              <a:buNone/>
              <a:defRPr sz="2806">
                <a:solidFill>
                  <a:schemeClr val="tx1"/>
                </a:solidFill>
              </a:defRPr>
            </a:lvl1pPr>
            <a:lvl2pPr marL="534604" indent="0">
              <a:buNone/>
              <a:defRPr sz="2339">
                <a:solidFill>
                  <a:schemeClr val="tx1">
                    <a:tint val="75000"/>
                  </a:schemeClr>
                </a:solidFill>
              </a:defRPr>
            </a:lvl2pPr>
            <a:lvl3pPr marL="1069208" indent="0">
              <a:buNone/>
              <a:defRPr sz="2105">
                <a:solidFill>
                  <a:schemeClr val="tx1">
                    <a:tint val="75000"/>
                  </a:schemeClr>
                </a:solidFill>
              </a:defRPr>
            </a:lvl3pPr>
            <a:lvl4pPr marL="1603812" indent="0">
              <a:buNone/>
              <a:defRPr sz="1871">
                <a:solidFill>
                  <a:schemeClr val="tx1">
                    <a:tint val="75000"/>
                  </a:schemeClr>
                </a:solidFill>
              </a:defRPr>
            </a:lvl4pPr>
            <a:lvl5pPr marL="2138416" indent="0">
              <a:buNone/>
              <a:defRPr sz="1871">
                <a:solidFill>
                  <a:schemeClr val="tx1">
                    <a:tint val="75000"/>
                  </a:schemeClr>
                </a:solidFill>
              </a:defRPr>
            </a:lvl5pPr>
            <a:lvl6pPr marL="2673020" indent="0">
              <a:buNone/>
              <a:defRPr sz="1871">
                <a:solidFill>
                  <a:schemeClr val="tx1">
                    <a:tint val="75000"/>
                  </a:schemeClr>
                </a:solidFill>
              </a:defRPr>
            </a:lvl6pPr>
            <a:lvl7pPr marL="3207624" indent="0">
              <a:buNone/>
              <a:defRPr sz="1871">
                <a:solidFill>
                  <a:schemeClr val="tx1">
                    <a:tint val="75000"/>
                  </a:schemeClr>
                </a:solidFill>
              </a:defRPr>
            </a:lvl7pPr>
            <a:lvl8pPr marL="3742228" indent="0">
              <a:buNone/>
              <a:defRPr sz="1871">
                <a:solidFill>
                  <a:schemeClr val="tx1">
                    <a:tint val="75000"/>
                  </a:schemeClr>
                </a:solidFill>
              </a:defRPr>
            </a:lvl8pPr>
            <a:lvl9pPr marL="4276832" indent="0">
              <a:buNone/>
              <a:defRPr sz="187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7C214-94A9-824B-B1E2-EB359F8B1068}" type="datetimeFigureOut">
              <a:rPr lang="en-DE" smtClean="0"/>
              <a:t>02.02.23</a:t>
            </a:fld>
            <a:endParaRPr lang="en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9996E-44AE-DC4C-867D-F07C3180609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761313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2" y="4024827"/>
            <a:ext cx="4544021" cy="959308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0" y="4024827"/>
            <a:ext cx="4544021" cy="959308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7C214-94A9-824B-B1E2-EB359F8B1068}" type="datetimeFigureOut">
              <a:rPr lang="en-DE" smtClean="0"/>
              <a:t>02.02.23</a:t>
            </a:fld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9996E-44AE-DC4C-867D-F07C3180609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70208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804969"/>
            <a:ext cx="9221689" cy="29223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3706342"/>
            <a:ext cx="4523137" cy="1816421"/>
          </a:xfrm>
        </p:spPr>
        <p:txBody>
          <a:bodyPr anchor="b"/>
          <a:lstStyle>
            <a:lvl1pPr marL="0" indent="0">
              <a:buNone/>
              <a:defRPr sz="2806" b="1"/>
            </a:lvl1pPr>
            <a:lvl2pPr marL="534604" indent="0">
              <a:buNone/>
              <a:defRPr sz="2339" b="1"/>
            </a:lvl2pPr>
            <a:lvl3pPr marL="1069208" indent="0">
              <a:buNone/>
              <a:defRPr sz="2105" b="1"/>
            </a:lvl3pPr>
            <a:lvl4pPr marL="1603812" indent="0">
              <a:buNone/>
              <a:defRPr sz="1871" b="1"/>
            </a:lvl4pPr>
            <a:lvl5pPr marL="2138416" indent="0">
              <a:buNone/>
              <a:defRPr sz="1871" b="1"/>
            </a:lvl5pPr>
            <a:lvl6pPr marL="2673020" indent="0">
              <a:buNone/>
              <a:defRPr sz="1871" b="1"/>
            </a:lvl6pPr>
            <a:lvl7pPr marL="3207624" indent="0">
              <a:buNone/>
              <a:defRPr sz="1871" b="1"/>
            </a:lvl7pPr>
            <a:lvl8pPr marL="3742228" indent="0">
              <a:buNone/>
              <a:defRPr sz="1871" b="1"/>
            </a:lvl8pPr>
            <a:lvl9pPr marL="4276832" indent="0">
              <a:buNone/>
              <a:defRPr sz="1871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5522763"/>
            <a:ext cx="4523137" cy="812315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3706342"/>
            <a:ext cx="4545413" cy="1816421"/>
          </a:xfrm>
        </p:spPr>
        <p:txBody>
          <a:bodyPr anchor="b"/>
          <a:lstStyle>
            <a:lvl1pPr marL="0" indent="0">
              <a:buNone/>
              <a:defRPr sz="2806" b="1"/>
            </a:lvl1pPr>
            <a:lvl2pPr marL="534604" indent="0">
              <a:buNone/>
              <a:defRPr sz="2339" b="1"/>
            </a:lvl2pPr>
            <a:lvl3pPr marL="1069208" indent="0">
              <a:buNone/>
              <a:defRPr sz="2105" b="1"/>
            </a:lvl3pPr>
            <a:lvl4pPr marL="1603812" indent="0">
              <a:buNone/>
              <a:defRPr sz="1871" b="1"/>
            </a:lvl4pPr>
            <a:lvl5pPr marL="2138416" indent="0">
              <a:buNone/>
              <a:defRPr sz="1871" b="1"/>
            </a:lvl5pPr>
            <a:lvl6pPr marL="2673020" indent="0">
              <a:buNone/>
              <a:defRPr sz="1871" b="1"/>
            </a:lvl6pPr>
            <a:lvl7pPr marL="3207624" indent="0">
              <a:buNone/>
              <a:defRPr sz="1871" b="1"/>
            </a:lvl7pPr>
            <a:lvl8pPr marL="3742228" indent="0">
              <a:buNone/>
              <a:defRPr sz="1871" b="1"/>
            </a:lvl8pPr>
            <a:lvl9pPr marL="4276832" indent="0">
              <a:buNone/>
              <a:defRPr sz="1871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5522763"/>
            <a:ext cx="4545413" cy="812315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7C214-94A9-824B-B1E2-EB359F8B1068}" type="datetimeFigureOut">
              <a:rPr lang="en-DE" smtClean="0"/>
              <a:t>02.02.23</a:t>
            </a:fld>
            <a:endParaRPr lang="en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9996E-44AE-DC4C-867D-F07C3180609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320740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7C214-94A9-824B-B1E2-EB359F8B1068}" type="datetimeFigureOut">
              <a:rPr lang="en-DE" smtClean="0"/>
              <a:t>02.02.23</a:t>
            </a:fld>
            <a:endParaRPr lang="en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9996E-44AE-DC4C-867D-F07C3180609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7854072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7C214-94A9-824B-B1E2-EB359F8B1068}" type="datetimeFigureOut">
              <a:rPr lang="en-DE" smtClean="0"/>
              <a:t>02.02.23</a:t>
            </a:fld>
            <a:endParaRPr lang="en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9996E-44AE-DC4C-867D-F07C3180609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8104453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1007957"/>
            <a:ext cx="3448388" cy="3527848"/>
          </a:xfrm>
        </p:spPr>
        <p:txBody>
          <a:bodyPr anchor="b"/>
          <a:lstStyle>
            <a:lvl1pPr>
              <a:defRPr sz="3742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2176910"/>
            <a:ext cx="5412730" cy="10744538"/>
          </a:xfrm>
        </p:spPr>
        <p:txBody>
          <a:bodyPr/>
          <a:lstStyle>
            <a:lvl1pPr>
              <a:defRPr sz="3742"/>
            </a:lvl1pPr>
            <a:lvl2pPr>
              <a:defRPr sz="3274"/>
            </a:lvl2pPr>
            <a:lvl3pPr>
              <a:defRPr sz="2806"/>
            </a:lvl3pPr>
            <a:lvl4pPr>
              <a:defRPr sz="2339"/>
            </a:lvl4pPr>
            <a:lvl5pPr>
              <a:defRPr sz="2339"/>
            </a:lvl5pPr>
            <a:lvl6pPr>
              <a:defRPr sz="2339"/>
            </a:lvl6pPr>
            <a:lvl7pPr>
              <a:defRPr sz="2339"/>
            </a:lvl7pPr>
            <a:lvl8pPr>
              <a:defRPr sz="2339"/>
            </a:lvl8pPr>
            <a:lvl9pPr>
              <a:defRPr sz="2339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4535805"/>
            <a:ext cx="3448388" cy="8403140"/>
          </a:xfrm>
        </p:spPr>
        <p:txBody>
          <a:bodyPr/>
          <a:lstStyle>
            <a:lvl1pPr marL="0" indent="0">
              <a:buNone/>
              <a:defRPr sz="1871"/>
            </a:lvl1pPr>
            <a:lvl2pPr marL="534604" indent="0">
              <a:buNone/>
              <a:defRPr sz="1637"/>
            </a:lvl2pPr>
            <a:lvl3pPr marL="1069208" indent="0">
              <a:buNone/>
              <a:defRPr sz="1403"/>
            </a:lvl3pPr>
            <a:lvl4pPr marL="1603812" indent="0">
              <a:buNone/>
              <a:defRPr sz="1169"/>
            </a:lvl4pPr>
            <a:lvl5pPr marL="2138416" indent="0">
              <a:buNone/>
              <a:defRPr sz="1169"/>
            </a:lvl5pPr>
            <a:lvl6pPr marL="2673020" indent="0">
              <a:buNone/>
              <a:defRPr sz="1169"/>
            </a:lvl6pPr>
            <a:lvl7pPr marL="3207624" indent="0">
              <a:buNone/>
              <a:defRPr sz="1169"/>
            </a:lvl7pPr>
            <a:lvl8pPr marL="3742228" indent="0">
              <a:buNone/>
              <a:defRPr sz="1169"/>
            </a:lvl8pPr>
            <a:lvl9pPr marL="4276832" indent="0">
              <a:buNone/>
              <a:defRPr sz="1169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7C214-94A9-824B-B1E2-EB359F8B1068}" type="datetimeFigureOut">
              <a:rPr lang="en-DE" smtClean="0"/>
              <a:t>02.02.23</a:t>
            </a:fld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9996E-44AE-DC4C-867D-F07C3180609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1452105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1007957"/>
            <a:ext cx="3448388" cy="3527848"/>
          </a:xfrm>
        </p:spPr>
        <p:txBody>
          <a:bodyPr anchor="b"/>
          <a:lstStyle>
            <a:lvl1pPr>
              <a:defRPr sz="3742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2176910"/>
            <a:ext cx="5412730" cy="10744538"/>
          </a:xfrm>
        </p:spPr>
        <p:txBody>
          <a:bodyPr anchor="t"/>
          <a:lstStyle>
            <a:lvl1pPr marL="0" indent="0">
              <a:buNone/>
              <a:defRPr sz="3742"/>
            </a:lvl1pPr>
            <a:lvl2pPr marL="534604" indent="0">
              <a:buNone/>
              <a:defRPr sz="3274"/>
            </a:lvl2pPr>
            <a:lvl3pPr marL="1069208" indent="0">
              <a:buNone/>
              <a:defRPr sz="2806"/>
            </a:lvl3pPr>
            <a:lvl4pPr marL="1603812" indent="0">
              <a:buNone/>
              <a:defRPr sz="2339"/>
            </a:lvl4pPr>
            <a:lvl5pPr marL="2138416" indent="0">
              <a:buNone/>
              <a:defRPr sz="2339"/>
            </a:lvl5pPr>
            <a:lvl6pPr marL="2673020" indent="0">
              <a:buNone/>
              <a:defRPr sz="2339"/>
            </a:lvl6pPr>
            <a:lvl7pPr marL="3207624" indent="0">
              <a:buNone/>
              <a:defRPr sz="2339"/>
            </a:lvl7pPr>
            <a:lvl8pPr marL="3742228" indent="0">
              <a:buNone/>
              <a:defRPr sz="2339"/>
            </a:lvl8pPr>
            <a:lvl9pPr marL="4276832" indent="0">
              <a:buNone/>
              <a:defRPr sz="2339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4535805"/>
            <a:ext cx="3448388" cy="8403140"/>
          </a:xfrm>
        </p:spPr>
        <p:txBody>
          <a:bodyPr/>
          <a:lstStyle>
            <a:lvl1pPr marL="0" indent="0">
              <a:buNone/>
              <a:defRPr sz="1871"/>
            </a:lvl1pPr>
            <a:lvl2pPr marL="534604" indent="0">
              <a:buNone/>
              <a:defRPr sz="1637"/>
            </a:lvl2pPr>
            <a:lvl3pPr marL="1069208" indent="0">
              <a:buNone/>
              <a:defRPr sz="1403"/>
            </a:lvl3pPr>
            <a:lvl4pPr marL="1603812" indent="0">
              <a:buNone/>
              <a:defRPr sz="1169"/>
            </a:lvl4pPr>
            <a:lvl5pPr marL="2138416" indent="0">
              <a:buNone/>
              <a:defRPr sz="1169"/>
            </a:lvl5pPr>
            <a:lvl6pPr marL="2673020" indent="0">
              <a:buNone/>
              <a:defRPr sz="1169"/>
            </a:lvl6pPr>
            <a:lvl7pPr marL="3207624" indent="0">
              <a:buNone/>
              <a:defRPr sz="1169"/>
            </a:lvl7pPr>
            <a:lvl8pPr marL="3742228" indent="0">
              <a:buNone/>
              <a:defRPr sz="1169"/>
            </a:lvl8pPr>
            <a:lvl9pPr marL="4276832" indent="0">
              <a:buNone/>
              <a:defRPr sz="1169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7C214-94A9-824B-B1E2-EB359F8B1068}" type="datetimeFigureOut">
              <a:rPr lang="en-DE" smtClean="0"/>
              <a:t>02.02.23</a:t>
            </a:fld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9996E-44AE-DC4C-867D-F07C3180609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080445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2" y="804969"/>
            <a:ext cx="9221689" cy="2922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2" y="4024827"/>
            <a:ext cx="9221689" cy="95930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14013401"/>
            <a:ext cx="2405658" cy="8049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17C214-94A9-824B-B1E2-EB359F8B1068}" type="datetimeFigureOut">
              <a:rPr lang="en-DE" smtClean="0"/>
              <a:t>02.02.23</a:t>
            </a:fld>
            <a:endParaRPr lang="en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3" y="14013401"/>
            <a:ext cx="3608487" cy="8049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14013401"/>
            <a:ext cx="2405658" cy="8049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59996E-44AE-DC4C-867D-F07C31806098}" type="slidenum">
              <a:rPr lang="en-DE" smtClean="0"/>
              <a:t>‹#›</a:t>
            </a:fld>
            <a:endParaRPr lang="en-DE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5E1AC84-EDA1-2226-475A-BE369907F8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15273625"/>
              </p:ext>
            </p:extLst>
          </p:nvPr>
        </p:nvGraphicFramePr>
        <p:xfrm>
          <a:off x="1393" y="3501"/>
          <a:ext cx="1076" cy="3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D6E40A2-AF41-8841-655C-DFB9F34C77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393" y="3501"/>
                        <a:ext cx="1076" cy="3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2493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069208" rtl="0" eaLnBrk="1" latinLnBrk="0" hangingPunct="1">
        <a:lnSpc>
          <a:spcPct val="90000"/>
        </a:lnSpc>
        <a:spcBef>
          <a:spcPct val="0"/>
        </a:spcBef>
        <a:buNone/>
        <a:defRPr sz="514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7302" indent="-267302" algn="l" defTabSz="1069208" rtl="0" eaLnBrk="1" latinLnBrk="0" hangingPunct="1">
        <a:lnSpc>
          <a:spcPct val="90000"/>
        </a:lnSpc>
        <a:spcBef>
          <a:spcPts val="1169"/>
        </a:spcBef>
        <a:buFont typeface="Arial" panose="020B0604020202020204" pitchFamily="34" charset="0"/>
        <a:buChar char="•"/>
        <a:defRPr sz="3274" kern="1200">
          <a:solidFill>
            <a:schemeClr val="tx1"/>
          </a:solidFill>
          <a:latin typeface="+mn-lt"/>
          <a:ea typeface="+mn-ea"/>
          <a:cs typeface="+mn-cs"/>
        </a:defRPr>
      </a:lvl1pPr>
      <a:lvl2pPr marL="801906" indent="-267302" algn="l" defTabSz="1069208" rtl="0" eaLnBrk="1" latinLnBrk="0" hangingPunct="1">
        <a:lnSpc>
          <a:spcPct val="90000"/>
        </a:lnSpc>
        <a:spcBef>
          <a:spcPts val="585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336510" indent="-267302" algn="l" defTabSz="1069208" rtl="0" eaLnBrk="1" latinLnBrk="0" hangingPunct="1">
        <a:lnSpc>
          <a:spcPct val="90000"/>
        </a:lnSpc>
        <a:spcBef>
          <a:spcPts val="585"/>
        </a:spcBef>
        <a:buFont typeface="Arial" panose="020B0604020202020204" pitchFamily="34" charset="0"/>
        <a:buChar char="•"/>
        <a:defRPr sz="2339" kern="1200">
          <a:solidFill>
            <a:schemeClr val="tx1"/>
          </a:solidFill>
          <a:latin typeface="+mn-lt"/>
          <a:ea typeface="+mn-ea"/>
          <a:cs typeface="+mn-cs"/>
        </a:defRPr>
      </a:lvl3pPr>
      <a:lvl4pPr marL="1871114" indent="-267302" algn="l" defTabSz="1069208" rtl="0" eaLnBrk="1" latinLnBrk="0" hangingPunct="1">
        <a:lnSpc>
          <a:spcPct val="90000"/>
        </a:lnSpc>
        <a:spcBef>
          <a:spcPts val="585"/>
        </a:spcBef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4pPr>
      <a:lvl5pPr marL="2405718" indent="-267302" algn="l" defTabSz="1069208" rtl="0" eaLnBrk="1" latinLnBrk="0" hangingPunct="1">
        <a:lnSpc>
          <a:spcPct val="90000"/>
        </a:lnSpc>
        <a:spcBef>
          <a:spcPts val="585"/>
        </a:spcBef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5pPr>
      <a:lvl6pPr marL="2940322" indent="-267302" algn="l" defTabSz="1069208" rtl="0" eaLnBrk="1" latinLnBrk="0" hangingPunct="1">
        <a:lnSpc>
          <a:spcPct val="90000"/>
        </a:lnSpc>
        <a:spcBef>
          <a:spcPts val="585"/>
        </a:spcBef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6pPr>
      <a:lvl7pPr marL="3474926" indent="-267302" algn="l" defTabSz="1069208" rtl="0" eaLnBrk="1" latinLnBrk="0" hangingPunct="1">
        <a:lnSpc>
          <a:spcPct val="90000"/>
        </a:lnSpc>
        <a:spcBef>
          <a:spcPts val="585"/>
        </a:spcBef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7pPr>
      <a:lvl8pPr marL="4009530" indent="-267302" algn="l" defTabSz="1069208" rtl="0" eaLnBrk="1" latinLnBrk="0" hangingPunct="1">
        <a:lnSpc>
          <a:spcPct val="90000"/>
        </a:lnSpc>
        <a:spcBef>
          <a:spcPts val="585"/>
        </a:spcBef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8pPr>
      <a:lvl9pPr marL="4544134" indent="-267302" algn="l" defTabSz="1069208" rtl="0" eaLnBrk="1" latinLnBrk="0" hangingPunct="1">
        <a:lnSpc>
          <a:spcPct val="90000"/>
        </a:lnSpc>
        <a:spcBef>
          <a:spcPts val="585"/>
        </a:spcBef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69208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1pPr>
      <a:lvl2pPr marL="534604" algn="l" defTabSz="1069208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2pPr>
      <a:lvl3pPr marL="1069208" algn="l" defTabSz="1069208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3pPr>
      <a:lvl4pPr marL="1603812" algn="l" defTabSz="1069208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4pPr>
      <a:lvl5pPr marL="2138416" algn="l" defTabSz="1069208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5pPr>
      <a:lvl6pPr marL="2673020" algn="l" defTabSz="1069208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6pPr>
      <a:lvl7pPr marL="3207624" algn="l" defTabSz="1069208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7pPr>
      <a:lvl8pPr marL="3742228" algn="l" defTabSz="1069208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8pPr>
      <a:lvl9pPr marL="4276832" algn="l" defTabSz="1069208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DB9E9E-8023-9775-EF2C-DF10806C6E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406907"/>
              </p:ext>
            </p:extLst>
          </p:nvPr>
        </p:nvGraphicFramePr>
        <p:xfrm>
          <a:off x="-8090014" y="3501"/>
          <a:ext cx="2705" cy="3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8090014" y="3501"/>
                        <a:ext cx="2705" cy="3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B0978EB-5022-EE08-D8B9-F73B578ACB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713" y="343329"/>
            <a:ext cx="10282385" cy="516778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DFD4E0C-E01E-D657-FC26-38D3896F692C}"/>
              </a:ext>
            </a:extLst>
          </p:cNvPr>
          <p:cNvSpPr/>
          <p:nvPr/>
        </p:nvSpPr>
        <p:spPr>
          <a:xfrm>
            <a:off x="395416" y="8625016"/>
            <a:ext cx="9885118" cy="3385752"/>
          </a:xfrm>
          <a:prstGeom prst="rect">
            <a:avLst/>
          </a:prstGeom>
          <a:noFill/>
          <a:ln w="571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>
                <a:solidFill>
                  <a:schemeClr val="tx1"/>
                </a:solidFill>
              </a:rPr>
              <a:t>Business Model Canva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FC98DA-9C5B-D9E0-C183-CDB4942576A8}"/>
              </a:ext>
            </a:extLst>
          </p:cNvPr>
          <p:cNvSpPr/>
          <p:nvPr/>
        </p:nvSpPr>
        <p:spPr>
          <a:xfrm>
            <a:off x="395416" y="12505038"/>
            <a:ext cx="9885118" cy="2270983"/>
          </a:xfrm>
          <a:prstGeom prst="rect">
            <a:avLst/>
          </a:prstGeom>
          <a:noFill/>
          <a:ln w="571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>
                <a:solidFill>
                  <a:schemeClr val="tx1"/>
                </a:solidFill>
              </a:rPr>
              <a:t>Ethische Bewertung</a:t>
            </a:r>
          </a:p>
        </p:txBody>
      </p:sp>
    </p:spTree>
    <p:extLst>
      <p:ext uri="{BB962C8B-B14F-4D97-AF65-F5344CB8AC3E}">
        <p14:creationId xmlns:p14="http://schemas.microsoft.com/office/powerpoint/2010/main" val="41006939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DB9E9E-8023-9775-EF2C-DF10806C6E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8090014" y="3501"/>
          <a:ext cx="2705" cy="3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DB9E9E-8023-9775-EF2C-DF10806C6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8090014" y="3501"/>
                        <a:ext cx="2705" cy="3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B0978EB-5022-EE08-D8B9-F73B578ACB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713" y="343329"/>
            <a:ext cx="10282385" cy="516778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DFD4E0C-E01E-D657-FC26-38D3896F692C}"/>
              </a:ext>
            </a:extLst>
          </p:cNvPr>
          <p:cNvSpPr/>
          <p:nvPr/>
        </p:nvSpPr>
        <p:spPr>
          <a:xfrm>
            <a:off x="358687" y="8625015"/>
            <a:ext cx="9987673" cy="3595815"/>
          </a:xfrm>
          <a:prstGeom prst="rect">
            <a:avLst/>
          </a:prstGeom>
          <a:noFill/>
          <a:ln w="571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>
                <a:solidFill>
                  <a:schemeClr val="tx1"/>
                </a:solidFill>
                <a:latin typeface="+mj-lt"/>
              </a:rPr>
              <a:t>BUSINESS MODEL CANVA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FC98DA-9C5B-D9E0-C183-CDB4942576A8}"/>
              </a:ext>
            </a:extLst>
          </p:cNvPr>
          <p:cNvSpPr/>
          <p:nvPr/>
        </p:nvSpPr>
        <p:spPr>
          <a:xfrm>
            <a:off x="358687" y="12505038"/>
            <a:ext cx="9987673" cy="2270983"/>
          </a:xfrm>
          <a:prstGeom prst="rect">
            <a:avLst/>
          </a:prstGeom>
          <a:noFill/>
          <a:ln w="571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>
                <a:solidFill>
                  <a:schemeClr val="tx1"/>
                </a:solidFill>
                <a:latin typeface="+mj-lt"/>
              </a:rPr>
              <a:t>ETHISCHE BEWERTU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736B920-F2B9-4C48-962F-E15146B5468F}"/>
              </a:ext>
            </a:extLst>
          </p:cNvPr>
          <p:cNvSpPr/>
          <p:nvPr/>
        </p:nvSpPr>
        <p:spPr>
          <a:xfrm>
            <a:off x="358687" y="5511114"/>
            <a:ext cx="9987673" cy="2780271"/>
          </a:xfrm>
          <a:prstGeom prst="rect">
            <a:avLst/>
          </a:prstGeom>
          <a:noFill/>
          <a:ln w="571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>
                <a:solidFill>
                  <a:schemeClr val="tx1"/>
                </a:solidFill>
                <a:latin typeface="+mj-lt"/>
              </a:rPr>
              <a:t>USER FEEDBACK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B6BDF1B-BC5E-7BEC-6071-812C42AAB97A}"/>
              </a:ext>
            </a:extLst>
          </p:cNvPr>
          <p:cNvCxnSpPr/>
          <p:nvPr/>
        </p:nvCxnSpPr>
        <p:spPr>
          <a:xfrm>
            <a:off x="5337975" y="5832389"/>
            <a:ext cx="0" cy="2174789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3189A6B-1E58-0861-7A37-E7B7369DF306}"/>
              </a:ext>
            </a:extLst>
          </p:cNvPr>
          <p:cNvCxnSpPr>
            <a:cxnSpLocks/>
          </p:cNvCxnSpPr>
          <p:nvPr/>
        </p:nvCxnSpPr>
        <p:spPr>
          <a:xfrm>
            <a:off x="790832" y="6855941"/>
            <a:ext cx="9292282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71A3882-5CDE-E35C-FC23-4A616B51E383}"/>
              </a:ext>
            </a:extLst>
          </p:cNvPr>
          <p:cNvSpPr txBox="1"/>
          <p:nvPr/>
        </p:nvSpPr>
        <p:spPr>
          <a:xfrm>
            <a:off x="722458" y="6366103"/>
            <a:ext cx="1860451" cy="4360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dirty="0">
                <a:latin typeface="Roboto Light" charset="0"/>
                <a:ea typeface="Roboto Light" charset="0"/>
                <a:cs typeface="Roboto Light" charset="0"/>
              </a:rPr>
              <a:t>Was hat funktioniert?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D518D72-E60E-BFA2-DD46-5C0AC5F8340F}"/>
              </a:ext>
            </a:extLst>
          </p:cNvPr>
          <p:cNvSpPr txBox="1"/>
          <p:nvPr/>
        </p:nvSpPr>
        <p:spPr>
          <a:xfrm>
            <a:off x="8321980" y="6366103"/>
            <a:ext cx="1860451" cy="4360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dirty="0">
                <a:latin typeface="Roboto Light" charset="0"/>
                <a:ea typeface="Roboto Light" charset="0"/>
                <a:cs typeface="Roboto Light" charset="0"/>
              </a:rPr>
              <a:t>Was könnte verbessert werden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A880E-7813-F775-7F36-CEA76EB0335C}"/>
              </a:ext>
            </a:extLst>
          </p:cNvPr>
          <p:cNvSpPr txBox="1"/>
          <p:nvPr/>
        </p:nvSpPr>
        <p:spPr>
          <a:xfrm>
            <a:off x="722458" y="7764671"/>
            <a:ext cx="1860451" cy="4360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dirty="0">
                <a:latin typeface="Roboto Light" charset="0"/>
                <a:ea typeface="Roboto Light" charset="0"/>
                <a:cs typeface="Roboto Light" charset="0"/>
              </a:rPr>
              <a:t>Welche offenen Fragen stehen noch im Raum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B4D77D6-EFD5-D55E-4F07-48AF10C0CF6B}"/>
              </a:ext>
            </a:extLst>
          </p:cNvPr>
          <p:cNvSpPr txBox="1"/>
          <p:nvPr/>
        </p:nvSpPr>
        <p:spPr>
          <a:xfrm>
            <a:off x="8321980" y="7764671"/>
            <a:ext cx="1860451" cy="4360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dirty="0">
                <a:latin typeface="Roboto Light" charset="0"/>
                <a:ea typeface="Roboto Light" charset="0"/>
                <a:cs typeface="Roboto Light" charset="0"/>
              </a:rPr>
              <a:t>Gibt es neue Ideen?</a:t>
            </a:r>
          </a:p>
        </p:txBody>
      </p:sp>
    </p:spTree>
    <p:extLst>
      <p:ext uri="{BB962C8B-B14F-4D97-AF65-F5344CB8AC3E}">
        <p14:creationId xmlns:p14="http://schemas.microsoft.com/office/powerpoint/2010/main" val="4082836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 2013 - 2022">
  <a:themeElements>
    <a:clrScheme name="Office Theme 2013 - 202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 2013 - 2022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 2013 - 2022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12</TotalTime>
  <Words>34</Words>
  <Application>Microsoft Macintosh PowerPoint</Application>
  <PresentationFormat>Custom</PresentationFormat>
  <Paragraphs>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Roboto Light</vt:lpstr>
      <vt:lpstr>Office Theme 2013 - 2022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us Heckner</dc:creator>
  <cp:lastModifiedBy>Markus Heckner</cp:lastModifiedBy>
  <cp:revision>2</cp:revision>
  <dcterms:created xsi:type="dcterms:W3CDTF">2023-02-02T10:20:57Z</dcterms:created>
  <dcterms:modified xsi:type="dcterms:W3CDTF">2023-02-02T10:33:50Z</dcterms:modified>
</cp:coreProperties>
</file>